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3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5.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tags/tag46.xml" ContentType="application/vnd.openxmlformats-officedocument.presentationml.tags+xml"/>
  <Override PartName="/ppt/charts/chart28.xml" ContentType="application/vnd.openxmlformats-officedocument.drawingml.chart+xml"/>
  <Override PartName="/ppt/tags/tag47.xml" ContentType="application/vnd.openxmlformats-officedocument.presentationml.tags+xml"/>
  <Override PartName="/ppt/charts/chart29.xml" ContentType="application/vnd.openxmlformats-officedocument.drawingml.chart+xml"/>
  <Override PartName="/ppt/tags/tag48.xml" ContentType="application/vnd.openxmlformats-officedocument.presentationml.tags+xml"/>
  <Override PartName="/ppt/charts/chart30.xml" ContentType="application/vnd.openxmlformats-officedocument.drawingml.chart+xml"/>
  <Override PartName="/ppt/tags/tag49.xml" ContentType="application/vnd.openxmlformats-officedocument.presentationml.tags+xml"/>
  <Override PartName="/ppt/charts/chart31.xml" ContentType="application/vnd.openxmlformats-officedocument.drawingml.chart+xml"/>
  <Override PartName="/ppt/tags/tag50.xml" ContentType="application/vnd.openxmlformats-officedocument.presentationml.tags+xml"/>
  <Override PartName="/ppt/charts/chart32.xml" ContentType="application/vnd.openxmlformats-officedocument.drawingml.chart+xml"/>
  <Override PartName="/ppt/tags/tag51.xml" ContentType="application/vnd.openxmlformats-officedocument.presentationml.tags+xml"/>
  <Override PartName="/ppt/charts/chart33.xml" ContentType="application/vnd.openxmlformats-officedocument.drawingml.chart+xml"/>
  <Override PartName="/ppt/tags/tag52.xml" ContentType="application/vnd.openxmlformats-officedocument.presentationml.tags+xml"/>
  <Override PartName="/ppt/charts/chart34.xml" ContentType="application/vnd.openxmlformats-officedocument.drawingml.chart+xml"/>
  <Override PartName="/ppt/tags/tag53.xml" ContentType="application/vnd.openxmlformats-officedocument.presentationml.tags+xml"/>
  <Override PartName="/ppt/charts/chart35.xml" ContentType="application/vnd.openxmlformats-officedocument.drawingml.chart+xml"/>
  <Override PartName="/ppt/tags/tag54.xml" ContentType="application/vnd.openxmlformats-officedocument.presentationml.tags+xml"/>
  <Override PartName="/ppt/charts/chart36.xml" ContentType="application/vnd.openxmlformats-officedocument.drawingml.chart+xml"/>
  <Override PartName="/ppt/tags/tag55.xml" ContentType="application/vnd.openxmlformats-officedocument.presentationml.tags+xml"/>
  <Override PartName="/ppt/charts/chart37.xml" ContentType="application/vnd.openxmlformats-officedocument.drawingml.chart+xml"/>
  <Override PartName="/ppt/tags/tag56.xml" ContentType="application/vnd.openxmlformats-officedocument.presentationml.tags+xml"/>
  <Override PartName="/ppt/charts/chart38.xml" ContentType="application/vnd.openxmlformats-officedocument.drawingml.chart+xml"/>
  <Override PartName="/ppt/tags/tag57.xml" ContentType="application/vnd.openxmlformats-officedocument.presentationml.tags+xml"/>
  <Override PartName="/ppt/charts/chart39.xml" ContentType="application/vnd.openxmlformats-officedocument.drawingml.chart+xml"/>
  <Override PartName="/ppt/tags/tag58.xml" ContentType="application/vnd.openxmlformats-officedocument.presentationml.tags+xml"/>
  <Override PartName="/ppt/charts/chart40.xml" ContentType="application/vnd.openxmlformats-officedocument.drawingml.chart+xml"/>
  <Override PartName="/ppt/tags/tag59.xml" ContentType="application/vnd.openxmlformats-officedocument.presentationml.tags+xml"/>
  <Override PartName="/ppt/charts/chart41.xml" ContentType="application/vnd.openxmlformats-officedocument.drawingml.chart+xml"/>
  <Override PartName="/ppt/tags/tag60.xml" ContentType="application/vnd.openxmlformats-officedocument.presentationml.tags+xml"/>
  <Override PartName="/ppt/charts/chart42.xml" ContentType="application/vnd.openxmlformats-officedocument.drawingml.chart+xml"/>
  <Override PartName="/ppt/tags/tag61.xml" ContentType="application/vnd.openxmlformats-officedocument.presentationml.tags+xml"/>
  <Override PartName="/ppt/charts/chart43.xml" ContentType="application/vnd.openxmlformats-officedocument.drawingml.chart+xml"/>
  <Override PartName="/ppt/tags/tag62.xml" ContentType="application/vnd.openxmlformats-officedocument.presentationml.tags+xml"/>
  <Override PartName="/ppt/charts/chart44.xml" ContentType="application/vnd.openxmlformats-officedocument.drawingml.chart+xml"/>
  <Override PartName="/ppt/tags/tag63.xml" ContentType="application/vnd.openxmlformats-officedocument.presentationml.tags+xml"/>
  <Override PartName="/ppt/charts/chart45.xml" ContentType="application/vnd.openxmlformats-officedocument.drawingml.chart+xml"/>
  <Override PartName="/ppt/tags/tag64.xml" ContentType="application/vnd.openxmlformats-officedocument.presentationml.tags+xml"/>
  <Override PartName="/ppt/charts/chart46.xml" ContentType="application/vnd.openxmlformats-officedocument.drawingml.chart+xml"/>
  <Override PartName="/ppt/tags/tag65.xml" ContentType="application/vnd.openxmlformats-officedocument.presentationml.tags+xml"/>
  <Override PartName="/ppt/charts/chart47.xml" ContentType="application/vnd.openxmlformats-officedocument.drawingml.chart+xml"/>
  <Override PartName="/ppt/tags/tag66.xml" ContentType="application/vnd.openxmlformats-officedocument.presentationml.tags+xml"/>
  <Override PartName="/ppt/charts/chart48.xml" ContentType="application/vnd.openxmlformats-officedocument.drawingml.chart+xml"/>
  <Override PartName="/ppt/tags/tag67.xml" ContentType="application/vnd.openxmlformats-officedocument.presentationml.tags+xml"/>
  <Override PartName="/ppt/notesSlides/notesSlide1.xml" ContentType="application/vnd.openxmlformats-officedocument.presentationml.notesSlide+xml"/>
  <Override PartName="/ppt/tags/tag68.xml" ContentType="application/vnd.openxmlformats-officedocument.presentationml.tags+xml"/>
  <Override PartName="/ppt/notesSlides/notesSlide2.xml" ContentType="application/vnd.openxmlformats-officedocument.presentationml.notesSlide+xml"/>
  <Override PartName="/ppt/tags/tag69.xml" ContentType="application/vnd.openxmlformats-officedocument.presentationml.tags+xml"/>
  <Override PartName="/ppt/notesSlides/notesSlide3.xml" ContentType="application/vnd.openxmlformats-officedocument.presentationml.notesSlide+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notesSlides/notesSlide8.xml" ContentType="application/vnd.openxmlformats-officedocument.presentationml.notesSlide+xml"/>
  <Override PartName="/ppt/tags/tag75.xml" ContentType="application/vnd.openxmlformats-officedocument.presentationml.tags+xml"/>
  <Override PartName="/ppt/notesSlides/notesSlide9.xml" ContentType="application/vnd.openxmlformats-officedocument.presentationml.notesSlide+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notesSlides/notesSlide12.xml" ContentType="application/vnd.openxmlformats-officedocument.presentationml.notesSlide+xml"/>
  <Override PartName="/ppt/tags/tag79.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style1.xml" ContentType="application/vnd.ms-office.chartstyle+xml"/>
  <Override PartName="/ppt/charts/colors1.xml" ContentType="application/vnd.ms-office.chartcolorstyle+xml"/>
  <Override PartName="/ppt/tags/tag80.xml" ContentType="application/vnd.openxmlformats-officedocument.presentationml.tags+xml"/>
  <Override PartName="/ppt/notesSlides/notesSlide14.xml" ContentType="application/vnd.openxmlformats-officedocument.presentationml.notesSlide+xml"/>
  <Override PartName="/ppt/charts/chart50.xml" ContentType="application/vnd.openxmlformats-officedocument.drawingml.chart+xml"/>
  <Override PartName="/ppt/charts/style2.xml" ContentType="application/vnd.ms-office.chartstyle+xml"/>
  <Override PartName="/ppt/charts/colors2.xml" ContentType="application/vnd.ms-office.chartcolorstyle+xml"/>
  <Override PartName="/ppt/tags/tag81.xml" ContentType="application/vnd.openxmlformats-officedocument.presentationml.tags+xml"/>
  <Override PartName="/ppt/notesSlides/notesSlide15.xml" ContentType="application/vnd.openxmlformats-officedocument.presentationml.notesSlide+xml"/>
  <Override PartName="/ppt/charts/chart51.xml" ContentType="application/vnd.openxmlformats-officedocument.drawingml.chart+xml"/>
  <Override PartName="/ppt/charts/style3.xml" ContentType="application/vnd.ms-office.chartstyle+xml"/>
  <Override PartName="/ppt/charts/colors3.xml" ContentType="application/vnd.ms-office.chartcolorstyle+xml"/>
  <Override PartName="/ppt/tags/tag82.xml" ContentType="application/vnd.openxmlformats-officedocument.presentationml.tags+xml"/>
  <Override PartName="/ppt/notesSlides/notesSlide16.xml" ContentType="application/vnd.openxmlformats-officedocument.presentationml.notesSlide+xml"/>
  <Override PartName="/ppt/charts/chart52.xml" ContentType="application/vnd.openxmlformats-officedocument.drawingml.chart+xml"/>
  <Override PartName="/ppt/charts/style4.xml" ContentType="application/vnd.ms-office.chartstyle+xml"/>
  <Override PartName="/ppt/charts/colors4.xml" ContentType="application/vnd.ms-office.chartcolorstyle+xml"/>
  <Override PartName="/ppt/tags/tag83.xml" ContentType="application/vnd.openxmlformats-officedocument.presentationml.tags+xml"/>
  <Override PartName="/ppt/notesSlides/notesSlide17.xml" ContentType="application/vnd.openxmlformats-officedocument.presentationml.notesSlide+xml"/>
  <Override PartName="/ppt/charts/chart53.xml" ContentType="application/vnd.openxmlformats-officedocument.drawingml.chart+xml"/>
  <Override PartName="/ppt/charts/style5.xml" ContentType="application/vnd.ms-office.chartstyle+xml"/>
  <Override PartName="/ppt/charts/colors5.xml" ContentType="application/vnd.ms-office.chartcolorstyle+xml"/>
  <Override PartName="/ppt/tags/tag84.xml" ContentType="application/vnd.openxmlformats-officedocument.presentationml.tags+xml"/>
  <Override PartName="/ppt/notesSlides/notesSlide18.xml" ContentType="application/vnd.openxmlformats-officedocument.presentationml.notesSlide+xml"/>
  <Override PartName="/ppt/charts/chart54.xml" ContentType="application/vnd.openxmlformats-officedocument.drawingml.chart+xml"/>
  <Override PartName="/ppt/charts/style6.xml" ContentType="application/vnd.ms-office.chartstyle+xml"/>
  <Override PartName="/ppt/charts/colors6.xml" ContentType="application/vnd.ms-office.chartcolorstyle+xml"/>
  <Override PartName="/ppt/tags/tag85.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style7.xml" ContentType="application/vnd.ms-office.chartstyle+xml"/>
  <Override PartName="/ppt/charts/colors7.xml" ContentType="application/vnd.ms-office.chartcolorstyle+xml"/>
  <Override PartName="/ppt/tags/tag86.xml" ContentType="application/vnd.openxmlformats-officedocument.presentationml.tags+xml"/>
  <Override PartName="/ppt/notesSlides/notesSlide20.xml" ContentType="application/vnd.openxmlformats-officedocument.presentationml.notesSlide+xml"/>
  <Override PartName="/ppt/charts/chart56.xml" ContentType="application/vnd.openxmlformats-officedocument.drawingml.chart+xml"/>
  <Override PartName="/ppt/charts/style8.xml" ContentType="application/vnd.ms-office.chartstyle+xml"/>
  <Override PartName="/ppt/charts/colors8.xml" ContentType="application/vnd.ms-office.chartcolorstyle+xml"/>
  <Override PartName="/ppt/tags/tag87.xml" ContentType="application/vnd.openxmlformats-officedocument.presentationml.tags+xml"/>
  <Override PartName="/ppt/notesSlides/notesSlide21.xml" ContentType="application/vnd.openxmlformats-officedocument.presentationml.notesSlide+xml"/>
  <Override PartName="/ppt/charts/chart57.xml" ContentType="application/vnd.openxmlformats-officedocument.drawingml.chart+xml"/>
  <Override PartName="/ppt/charts/style9.xml" ContentType="application/vnd.ms-office.chartstyle+xml"/>
  <Override PartName="/ppt/charts/colors9.xml" ContentType="application/vnd.ms-office.chartcolorstyle+xml"/>
  <Override PartName="/ppt/tags/tag88.xml" ContentType="application/vnd.openxmlformats-officedocument.presentationml.tags+xml"/>
  <Override PartName="/ppt/notesSlides/notesSlide22.xml" ContentType="application/vnd.openxmlformats-officedocument.presentationml.notesSlide+xml"/>
  <Override PartName="/ppt/charts/chart58.xml" ContentType="application/vnd.openxmlformats-officedocument.drawingml.chart+xml"/>
  <Override PartName="/ppt/charts/style10.xml" ContentType="application/vnd.ms-office.chartstyle+xml"/>
  <Override PartName="/ppt/charts/colors10.xml" ContentType="application/vnd.ms-office.chartcolorstyle+xml"/>
  <Override PartName="/ppt/tags/tag89.xml" ContentType="application/vnd.openxmlformats-officedocument.presentationml.tags+xml"/>
  <Override PartName="/ppt/notesSlides/notesSlide23.xml" ContentType="application/vnd.openxmlformats-officedocument.presentationml.notesSlide+xml"/>
  <Override PartName="/ppt/charts/chart59.xml" ContentType="application/vnd.openxmlformats-officedocument.drawingml.chart+xml"/>
  <Override PartName="/ppt/charts/style11.xml" ContentType="application/vnd.ms-office.chartstyle+xml"/>
  <Override PartName="/ppt/charts/colors11.xml" ContentType="application/vnd.ms-office.chartcolorstyle+xml"/>
  <Override PartName="/ppt/tags/tag90.xml" ContentType="application/vnd.openxmlformats-officedocument.presentationml.tags+xml"/>
  <Override PartName="/ppt/notesSlides/notesSlide24.xml" ContentType="application/vnd.openxmlformats-officedocument.presentationml.notesSlide+xml"/>
  <Override PartName="/ppt/charts/chart60.xml" ContentType="application/vnd.openxmlformats-officedocument.drawingml.chart+xml"/>
  <Override PartName="/ppt/charts/style12.xml" ContentType="application/vnd.ms-office.chartstyle+xml"/>
  <Override PartName="/ppt/charts/colors12.xml" ContentType="application/vnd.ms-office.chartcolorstyle+xml"/>
  <Override PartName="/ppt/tags/tag91.xml" ContentType="application/vnd.openxmlformats-officedocument.presentationml.tags+xml"/>
  <Override PartName="/ppt/notesSlides/notesSlide25.xml" ContentType="application/vnd.openxmlformats-officedocument.presentationml.notesSlide+xml"/>
  <Override PartName="/ppt/charts/chart61.xml" ContentType="application/vnd.openxmlformats-officedocument.drawingml.chart+xml"/>
  <Override PartName="/ppt/charts/style13.xml" ContentType="application/vnd.ms-office.chartstyle+xml"/>
  <Override PartName="/ppt/charts/colors13.xml" ContentType="application/vnd.ms-office.chartcolorstyle+xml"/>
  <Override PartName="/ppt/tags/tag92.xml" ContentType="application/vnd.openxmlformats-officedocument.presentationml.tags+xml"/>
  <Override PartName="/ppt/notesSlides/notesSlide26.xml" ContentType="application/vnd.openxmlformats-officedocument.presentationml.notesSlide+xml"/>
  <Override PartName="/ppt/charts/chart62.xml" ContentType="application/vnd.openxmlformats-officedocument.drawingml.chart+xml"/>
  <Override PartName="/ppt/charts/style14.xml" ContentType="application/vnd.ms-office.chartstyle+xml"/>
  <Override PartName="/ppt/charts/colors14.xml" ContentType="application/vnd.ms-office.chartcolorstyle+xml"/>
  <Override PartName="/ppt/tags/tag93.xml" ContentType="application/vnd.openxmlformats-officedocument.presentationml.tags+xml"/>
  <Override PartName="/ppt/notesSlides/notesSlide27.xml" ContentType="application/vnd.openxmlformats-officedocument.presentationml.notesSlide+xml"/>
  <Override PartName="/ppt/charts/chart63.xml" ContentType="application/vnd.openxmlformats-officedocument.drawingml.chart+xml"/>
  <Override PartName="/ppt/charts/style15.xml" ContentType="application/vnd.ms-office.chartstyle+xml"/>
  <Override PartName="/ppt/charts/colors15.xml" ContentType="application/vnd.ms-office.chartcolorstyle+xml"/>
  <Override PartName="/ppt/tags/tag94.xml" ContentType="application/vnd.openxmlformats-officedocument.presentationml.tags+xml"/>
  <Override PartName="/ppt/notesSlides/notesSlide28.xml" ContentType="application/vnd.openxmlformats-officedocument.presentationml.notesSlide+xml"/>
  <Override PartName="/ppt/charts/chart64.xml" ContentType="application/vnd.openxmlformats-officedocument.drawingml.chart+xml"/>
  <Override PartName="/ppt/charts/style16.xml" ContentType="application/vnd.ms-office.chartstyle+xml"/>
  <Override PartName="/ppt/charts/colors16.xml" ContentType="application/vnd.ms-office.chartcolorstyle+xml"/>
  <Override PartName="/ppt/tags/tag95.xml" ContentType="application/vnd.openxmlformats-officedocument.presentationml.tags+xml"/>
  <Override PartName="/ppt/notesSlides/notesSlide29.xml" ContentType="application/vnd.openxmlformats-officedocument.presentationml.notesSlide+xml"/>
  <Override PartName="/ppt/charts/chart65.xml" ContentType="application/vnd.openxmlformats-officedocument.drawingml.chart+xml"/>
  <Override PartName="/ppt/charts/style17.xml" ContentType="application/vnd.ms-office.chartstyle+xml"/>
  <Override PartName="/ppt/charts/colors17.xml" ContentType="application/vnd.ms-office.chartcolorstyle+xml"/>
  <Override PartName="/ppt/tags/tag96.xml" ContentType="application/vnd.openxmlformats-officedocument.presentationml.tags+xml"/>
  <Override PartName="/ppt/notesSlides/notesSlide30.xml" ContentType="application/vnd.openxmlformats-officedocument.presentationml.notesSlide+xml"/>
  <Override PartName="/ppt/charts/chart66.xml" ContentType="application/vnd.openxmlformats-officedocument.drawingml.chart+xml"/>
  <Override PartName="/ppt/charts/style18.xml" ContentType="application/vnd.ms-office.chartstyle+xml"/>
  <Override PartName="/ppt/charts/colors18.xml" ContentType="application/vnd.ms-office.chartcolorstyle+xml"/>
  <Override PartName="/ppt/tags/tag97.xml" ContentType="application/vnd.openxmlformats-officedocument.presentationml.tags+xml"/>
  <Override PartName="/ppt/notesSlides/notesSlide31.xml" ContentType="application/vnd.openxmlformats-officedocument.presentationml.notesSlide+xml"/>
  <Override PartName="/ppt/charts/chart67.xml" ContentType="application/vnd.openxmlformats-officedocument.drawingml.chart+xml"/>
  <Override PartName="/ppt/charts/style19.xml" ContentType="application/vnd.ms-office.chartstyle+xml"/>
  <Override PartName="/ppt/charts/colors19.xml" ContentType="application/vnd.ms-office.chartcolorstyle+xml"/>
  <Override PartName="/ppt/tags/tag98.xml" ContentType="application/vnd.openxmlformats-officedocument.presentationml.tags+xml"/>
  <Override PartName="/ppt/notesSlides/notesSlide32.xml" ContentType="application/vnd.openxmlformats-officedocument.presentationml.notesSlide+xml"/>
  <Override PartName="/ppt/charts/chart68.xml" ContentType="application/vnd.openxmlformats-officedocument.drawingml.chart+xml"/>
  <Override PartName="/ppt/charts/style20.xml" ContentType="application/vnd.ms-office.chartstyle+xml"/>
  <Override PartName="/ppt/charts/colors20.xml" ContentType="application/vnd.ms-office.chartcolorstyle+xml"/>
  <Override PartName="/ppt/tags/tag99.xml" ContentType="application/vnd.openxmlformats-officedocument.presentationml.tags+xml"/>
  <Override PartName="/ppt/notesSlides/notesSlide33.xml" ContentType="application/vnd.openxmlformats-officedocument.presentationml.notesSlide+xml"/>
  <Override PartName="/ppt/charts/chart69.xml" ContentType="application/vnd.openxmlformats-officedocument.drawingml.chart+xml"/>
  <Override PartName="/ppt/charts/style21.xml" ContentType="application/vnd.ms-office.chartstyle+xml"/>
  <Override PartName="/ppt/charts/colors21.xml" ContentType="application/vnd.ms-office.chartcolorstyle+xml"/>
  <Override PartName="/ppt/tags/tag100.xml" ContentType="application/vnd.openxmlformats-officedocument.presentationml.tags+xml"/>
  <Override PartName="/ppt/notesSlides/notesSlide34.xml" ContentType="application/vnd.openxmlformats-officedocument.presentationml.notesSlide+xml"/>
  <Override PartName="/ppt/charts/chart70.xml" ContentType="application/vnd.openxmlformats-officedocument.drawingml.chart+xml"/>
  <Override PartName="/ppt/charts/style22.xml" ContentType="application/vnd.ms-office.chartstyle+xml"/>
  <Override PartName="/ppt/charts/colors22.xml" ContentType="application/vnd.ms-office.chartcolorstyle+xml"/>
  <Override PartName="/ppt/tags/tag101.xml" ContentType="application/vnd.openxmlformats-officedocument.presentationml.tags+xml"/>
  <Override PartName="/ppt/notesSlides/notesSlide35.xml" ContentType="application/vnd.openxmlformats-officedocument.presentationml.notesSlide+xml"/>
  <Override PartName="/ppt/charts/chart71.xml" ContentType="application/vnd.openxmlformats-officedocument.drawingml.chart+xml"/>
  <Override PartName="/ppt/charts/style23.xml" ContentType="application/vnd.ms-office.chartstyle+xml"/>
  <Override PartName="/ppt/charts/colors23.xml" ContentType="application/vnd.ms-office.chartcolorstyle+xml"/>
  <Override PartName="/ppt/tags/tag102.xml" ContentType="application/vnd.openxmlformats-officedocument.presentationml.tags+xml"/>
  <Override PartName="/ppt/notesSlides/notesSlide36.xml" ContentType="application/vnd.openxmlformats-officedocument.presentationml.notesSlide+xml"/>
  <Override PartName="/ppt/charts/chart72.xml" ContentType="application/vnd.openxmlformats-officedocument.drawingml.chart+xml"/>
  <Override PartName="/ppt/charts/style24.xml" ContentType="application/vnd.ms-office.chartstyle+xml"/>
  <Override PartName="/ppt/charts/colors24.xml" ContentType="application/vnd.ms-office.chartcolorstyle+xml"/>
  <Override PartName="/ppt/tags/tag103.xml" ContentType="application/vnd.openxmlformats-officedocument.presentationml.tags+xml"/>
  <Override PartName="/ppt/notesSlides/notesSlide37.xml" ContentType="application/vnd.openxmlformats-officedocument.presentationml.notesSlide+xml"/>
  <Override PartName="/ppt/charts/chart73.xml" ContentType="application/vnd.openxmlformats-officedocument.drawingml.chart+xml"/>
  <Override PartName="/ppt/charts/style25.xml" ContentType="application/vnd.ms-office.chartstyle+xml"/>
  <Override PartName="/ppt/charts/colors25.xml" ContentType="application/vnd.ms-office.chartcolorstyle+xml"/>
  <Override PartName="/ppt/tags/tag104.xml" ContentType="application/vnd.openxmlformats-officedocument.presentationml.tags+xml"/>
  <Override PartName="/ppt/notesSlides/notesSlide38.xml" ContentType="application/vnd.openxmlformats-officedocument.presentationml.notesSlide+xml"/>
  <Override PartName="/ppt/charts/chart74.xml" ContentType="application/vnd.openxmlformats-officedocument.drawingml.chart+xml"/>
  <Override PartName="/ppt/charts/style26.xml" ContentType="application/vnd.ms-office.chartstyle+xml"/>
  <Override PartName="/ppt/charts/colors26.xml" ContentType="application/vnd.ms-office.chartcolorstyle+xml"/>
  <Override PartName="/ppt/tags/tag105.xml" ContentType="application/vnd.openxmlformats-officedocument.presentationml.tags+xml"/>
  <Override PartName="/ppt/notesSlides/notesSlide39.xml" ContentType="application/vnd.openxmlformats-officedocument.presentationml.notesSlide+xml"/>
  <Override PartName="/ppt/charts/chart75.xml" ContentType="application/vnd.openxmlformats-officedocument.drawingml.chart+xml"/>
  <Override PartName="/ppt/charts/style27.xml" ContentType="application/vnd.ms-office.chartstyle+xml"/>
  <Override PartName="/ppt/charts/colors27.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8AB67AA5-A9A7-4342-B25C-EDE430B7182C}">
          <p14:sldIdLst>
            <p14:sldId id="2147477365"/>
            <p14:sldId id="2147477366"/>
            <p14:sldId id="2147477367"/>
          </p14:sldIdLst>
        </p14:section>
        <p14:section name="Price Positioning Summary Sector" id="{0FE28F61-B622-4F48-B662-ED125269A1C5}">
          <p14:sldIdLst>
            <p14:sldId id="2147477368"/>
            <p14:sldId id="2147477369"/>
            <p14:sldId id="2147477370"/>
          </p14:sldIdLst>
        </p14:section>
        <p14:section name="Price Positioning Summary Segment" id="{138F5966-548D-4A74-A2BA-6519855AA5D2}">
          <p14:sldIdLst>
            <p14:sldId id="2147477371"/>
            <p14:sldId id="2147477372"/>
            <p14:sldId id="2147477373"/>
          </p14:sldIdLst>
        </p14:section>
        <p14:section name="Price Positioning Analysis By Brands" id="{5DF0F17D-0635-447C-887D-DB809E9A4B7D}">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Price Positioning Analysis By Manufacturer" id="{B1E3607E-013C-4BF9-9C35-BE32496EEB25}">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Lst>
        </p14:section>
        <p14:section name="Sectors Share and Growth By Brands" id="{CA99CDFB-E78D-4D21-A294-D39EECB94A19}">
          <p14:sldIdLst>
            <p14:sldId id="2147477404"/>
            <p14:sldId id="2147477405"/>
            <p14:sldId id="2147477406"/>
          </p14:sldIdLst>
        </p14:section>
        <p14:section name="Segments Share and Growth By Brands" id="{A1F1EE7E-CC5C-4DE4-A19E-71B119D2ACFB}">
          <p14:sldIdLst>
            <p14:sldId id="2147477407"/>
            <p14:sldId id="2147477408"/>
            <p14:sldId id="2147477409"/>
          </p14:sldIdLst>
        </p14:section>
        <p14:section name="Sectors Share and Growth By Manufacturer" id="{7072B003-7590-414F-8019-33F5E23E1F3C}">
          <p14:sldIdLst>
            <p14:sldId id="2147477410"/>
            <p14:sldId id="2147477411"/>
            <p14:sldId id="2147477412"/>
          </p14:sldIdLst>
        </p14:section>
        <p14:section name="Segments Share and Growth By Manufacturer" id="{94E54EF2-0AA5-46D8-BA56-B3462BABD1AD}">
          <p14:sldIdLst>
            <p14:sldId id="2147477413"/>
            <p14:sldId id="2147477414"/>
            <p14:sldId id="2147477415"/>
          </p14:sldIdLst>
        </p14:section>
        <p14:section name="Sec/Seg Value Sales Vs Avg Price By Manufacturer" id="{89F9BC3A-91CD-49BD-A3D8-EAEEF421B7F0}">
          <p14:sldIdLst>
            <p14:sldId id="2147477416"/>
            <p14:sldId id="2147477417"/>
            <p14:sldId id="2147477418"/>
          </p14:sldIdLst>
        </p14:section>
        <p14:section name="Sec/Seg Value Sales Vs Avg Price" id="{08820900-46C8-438F-8F32-6D918E4036E7}">
          <p14:sldIdLst>
            <p14:sldId id="2147477419"/>
            <p14:sldId id="2147477420"/>
            <p14:sldId id="2147477421"/>
            <p14:sldId id="2147477422"/>
            <p14:sldId id="2147477423"/>
            <p14:sldId id="2147477424"/>
            <p14:sldId id="2147477425"/>
            <p14:sldId id="2147477426"/>
          </p14:sldIdLst>
        </p14:section>
        <p14:section name="Sectors Value Sales Vs Avg Price" id="{91F3ED8C-1A54-4F14-AF49-85D17BF9271C}">
          <p14:sldIdLst>
            <p14:sldId id="2147477427"/>
            <p14:sldId id="2147477428"/>
            <p14:sldId id="2147477429"/>
            <p14:sldId id="2147477430"/>
            <p14:sldId id="2147477431"/>
            <p14:sldId id="2147477432"/>
            <p14:sldId id="2147477433"/>
            <p14:sldId id="2147477434"/>
          </p14:sldIdLst>
        </p14:section>
        <p14:section name="Segment Value Sales Vs Avg Price" id="{B33A278F-18CC-441C-A426-DE5E81A388D8}">
          <p14:sldIdLst>
            <p14:sldId id="2147477435"/>
            <p14:sldId id="2147477436"/>
            <p14:sldId id="2147477437"/>
            <p14:sldId id="2147477438"/>
            <p14:sldId id="2147477439"/>
            <p14:sldId id="2147477440"/>
            <p14:sldId id="2147477441"/>
            <p14:sldId id="214747744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2.xml"/><Relationship Id="rId1" Type="http://schemas.microsoft.com/office/2011/relationships/chartStyle" Target="style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xml"/><Relationship Id="rId1" Type="http://schemas.microsoft.com/office/2011/relationships/chartStyle" Target="style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xml"/><Relationship Id="rId1" Type="http://schemas.microsoft.com/office/2011/relationships/chartStyle" Target="style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xml"/><Relationship Id="rId1" Type="http://schemas.microsoft.com/office/2011/relationships/chartStyle" Target="style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6.xml"/><Relationship Id="rId1" Type="http://schemas.microsoft.com/office/2011/relationships/chartStyle" Target="style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7.xml"/><Relationship Id="rId1" Type="http://schemas.microsoft.com/office/2011/relationships/chartStyle" Target="style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8.xml"/><Relationship Id="rId1" Type="http://schemas.microsoft.com/office/2011/relationships/chartStyle" Target="style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9.xml"/><Relationship Id="rId1" Type="http://schemas.microsoft.com/office/2011/relationships/chartStyle" Target="style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10.xml"/><Relationship Id="rId1" Type="http://schemas.microsoft.com/office/2011/relationships/chartStyle" Target="style1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11.xml"/><Relationship Id="rId1" Type="http://schemas.microsoft.com/office/2011/relationships/chartStyle" Target="style1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12.xml"/><Relationship Id="rId1" Type="http://schemas.microsoft.com/office/2011/relationships/chartStyle" Target="style1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3.xml"/><Relationship Id="rId1" Type="http://schemas.microsoft.com/office/2011/relationships/chartStyle" Target="style1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14.xml"/><Relationship Id="rId1" Type="http://schemas.microsoft.com/office/2011/relationships/chartStyle" Target="style1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15.xml"/><Relationship Id="rId1" Type="http://schemas.microsoft.com/office/2011/relationships/chartStyle" Target="style1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6.xml"/><Relationship Id="rId1" Type="http://schemas.microsoft.com/office/2011/relationships/chartStyle" Target="style1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17.xml"/><Relationship Id="rId1" Type="http://schemas.microsoft.com/office/2011/relationships/chartStyle" Target="style1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8.xml"/><Relationship Id="rId1" Type="http://schemas.microsoft.com/office/2011/relationships/chartStyle" Target="style1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19.xml"/><Relationship Id="rId1" Type="http://schemas.microsoft.com/office/2011/relationships/chartStyle" Target="style1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20.xml"/><Relationship Id="rId1" Type="http://schemas.microsoft.com/office/2011/relationships/chartStyle" Target="style2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21.xml"/><Relationship Id="rId1" Type="http://schemas.microsoft.com/office/2011/relationships/chartStyle" Target="style2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22.xml"/><Relationship Id="rId1" Type="http://schemas.microsoft.com/office/2011/relationships/chartStyle" Target="style2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23.xml"/><Relationship Id="rId1" Type="http://schemas.microsoft.com/office/2011/relationships/chartStyle" Target="style2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24.xml"/><Relationship Id="rId1" Type="http://schemas.microsoft.com/office/2011/relationships/chartStyle" Target="style2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25.xml"/><Relationship Id="rId1" Type="http://schemas.microsoft.com/office/2011/relationships/chartStyle" Target="style25.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26.xml"/><Relationship Id="rId1" Type="http://schemas.microsoft.com/office/2011/relationships/chartStyle" Target="style26.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27.xml"/><Relationship Id="rId1" Type="http://schemas.microsoft.com/office/2011/relationships/chartStyle" Target="style2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598757-6C86-4477-99A8-8BE2EEB19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200251-B0C2-47CD-90DD-08C18DF5D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93925F-0C66-4CA1-9290-0EF03DE694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42036A-922D-411C-BFB3-68B5475BC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9BC33A-642A-4EA8-AC3F-2BFDF606D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37ECAA-B6A4-43C7-81C5-90167C972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6098B5-E9DE-4CE2-8D8A-66AE9FB2C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AA6521-E419-4F9B-8A55-B73822DB4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B6AC242-8F75-4520-BCAB-70DAEFC04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61DD8E-5B69-42DA-B8AE-00FAE0D8B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2B87E5-D4A0-4BDD-93EB-3A2E50D6F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461E37-DE33-49F5-B750-B3BF2BD04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DF7CEE-D864-4327-9931-AED561B19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DB2B66-882C-4E92-9015-F4964FAD7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AF6307-D640-4872-A8F0-403CAACDF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006B42D-2734-492E-AFBF-1119E597F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68D9F63-D046-4089-A97F-89CDF4306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33D2BCF-DDA6-4FE0-AD4D-580CC0CF4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906635E-DB4D-4E00-85B5-F81F9FDA6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262AD1F-792B-450D-9F18-E01C3CFD4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3D232FB-14AC-4397-A6D2-9295EC81E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4A0FF0F-1F61-434F-BCA7-825452FC0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D441B2E-C343-47DC-B44E-D3930CEBC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E1D1DD9-5CCE-4A7F-84FC-13BF2410F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332E549-AADB-4E75-AF75-0BFFA0E83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8C5840F-2581-4E69-B072-20F1962B8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D52B713-283E-44F8-96B0-779BB27FB4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5966023-F506-4D3C-95EB-081CDAE0D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DC11FD3-99DC-4F2F-98A9-4B4B5C81A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E726682A-B5E8-4805-92A1-9AB44F599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2A3F34B-C830-495A-A89E-314EDB708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82CC64C1-9235-4263-9B2B-86C9F8345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BD1C70-AC8E-4064-85D4-C897E8970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E95889-DA4E-4D6D-AD1E-0708445FD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3D5595-7FE8-47AD-9CEA-E83A4F728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495A1B7-803F-4C2D-A3ED-7A95DF68A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A529CD-B0D8-42A2-A054-2DD8DBA4C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64944E5-95C6-428F-9266-D9AF5E80C7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56A648-45AA-4D71-AAE1-F3D87FCF1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032AE2F-9A7E-4F53-A2BF-EB6FE3E02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7CEA069-3B20-4D48-8653-5A4485E3A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5DA844D-2D22-4B1B-99AA-56E4E06681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C427643-CDBA-4580-AE17-A8B55541B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B4CCDE69-060A-4CE1-97ED-69C59B586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E0E2E77-6BDF-4DB9-AA83-6071ED644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FDA0138-D4DC-402D-B926-64C91BA48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B8FC2ED-2796-4D68-8B0C-436D5F2E3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B84D573-18EE-4C9C-899A-3792B6C33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933E3E2-A52A-4E0C-98DD-C2248D50A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E781B54-2B76-4F35-8613-B8553EF9E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B2D9AA9-05E6-483B-9A19-80E98B1E3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5FDCCA5-853A-4284-A415-C1583CA368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E72D7AB-04AF-4F06-B81E-430B0F32EB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0378327-624A-469F-BDFF-BF3BC939D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E98BB6AB-5FF0-4323-B88D-079F69362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5515FDDB-E920-430A-BBFB-BCA7B83B4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E70D77-F70F-4D63-8160-77C825BBF2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3220B4-5618-45E8-A92C-CB1F0E0A2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A2B237-E037-4DA0-B2A8-7AF62A36C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FFA617-458F-4CDE-8D88-343E2B6F0E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D0BCBCA-0D2A-4DAF-8CAE-D085417D1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7CFAB85-F4E4-4645-9F0D-BCEAC99C3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E8786D-253B-4479-A6E3-42B5497BB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A64661-651E-48B7-A255-C009C0101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369A0FD-17F6-4FB5-AB39-24523C189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B4750E1-700C-4613-B2D0-9B28B86E0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C10BF3F-29AB-445A-AEE4-09DDC0434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748E527-2BCF-4192-9D10-FFD6224FA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2D2D337-C76A-4E23-9224-6996B25BF3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B9A299F-15FC-4D87-8F67-97E82187C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FBC174A-C718-43E8-9650-130C12BFD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0958B55-8A06-4EBA-8B5D-64A7C3474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6D1484B-73B7-4260-9119-ECBCDB5922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CE0F07A-E0D2-4BB3-A719-C46C22FC0D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F92F5CF-3CF5-40C7-A5F6-CA53078D0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5DCA795-54FA-4F93-B92F-9A76BD760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39EC0592-4784-4A11-B72C-AA6D50852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749BE191-62CD-4868-8D48-CEC8AEDEC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4EBC996E-4AAF-4981-B2FD-EF6195F17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F0F8265-BF21-450C-A9F8-5570D3133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E2F646-66FF-4C1B-8F71-544EE1DDC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27AA23-75CC-4454-AB91-DC93A6D91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45B19E-AFDA-4332-B2AC-2602ABBEE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020FB2-E53A-4329-BE4C-38FF3245CC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3C2D79-727C-4591-AF06-1D963D6B4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7C59DE3-3DEC-4D51-9E4A-2208B54E9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AB7D9A-A0AB-4934-AF03-E5BA44EE8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07A74C1-0B26-48AF-B98E-0A1F21BE3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E9876B-9BA4-475E-9C87-636B8093D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561C16-934A-4A29-9C73-3BA20C835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3A2738-AA32-4D12-ADB6-ED255A2CD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471DB3-B7C6-4EC0-A3E3-966BE81D0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F9020C-DD5B-49AB-A503-91FC4134B2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7EE587F-E13E-4BC8-B5E0-B7FBECEBC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02B1F44-C663-4A53-AAF4-CBB1C31BE4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D0F860-69C2-4BA0-A9A0-C82DFF9A6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93DCF9-7083-4660-A8A0-2492E2259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81AD83-12D3-4959-A3D1-10A2B5699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94661B-B39F-4CB7-83D3-49893F744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7EB985-E2CC-4E64-BA43-82FEC7DAAB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00CE4E-7E59-4DC1-A8B1-4517B6D39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46C8B7B-C7A6-432A-9DAB-D09FB7783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D2AC29-498F-4247-9B1B-2BABC888D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AD2718-F092-4C26-AD66-4F0FD920C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8AC54C-AC00-4F90-9C33-64561E896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008BAE-E3BF-411D-B25B-1C36D17466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A6576A-CFA3-46FF-AD47-407ED8F69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C1C4AF-99DB-4AF3-B72E-1D6C25D98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4F5AF0D-9C6A-4F22-9332-85B449B537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EA0F4D-25C3-449D-BD9E-ABF59022D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90A353-DA1F-4872-8388-D8857DE1C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87CB14-C63E-47A4-8D8F-0C16D6551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6A0101-7809-487C-B343-98A0E4FE1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F647E6-A384-4374-8E14-4350FB029A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2CCA7B-7C7B-445A-B3EF-EF1102353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E25FD3-09DE-45FB-A645-F9E8F8B6C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3CF0840-3910-44F6-B265-44E0B2AD6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A8E73C-5CCF-4ED9-BED8-96B62423E1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15365B-BC3D-4694-9646-796CAFAA3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6E92A6E-2B8E-4CEF-A06D-BF454BD48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60ABAB-2424-4EC2-A947-060120CD05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01A030-373A-429A-AC01-0FA0D46F5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56ECAE-DCB6-4208-B57D-C84BD0338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D6871C-3686-4D11-9377-DA6BDE98B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7B756A-AD7C-422C-9719-189E69C1C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16C86A-34CF-4973-8884-456CCEF20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2FDEC98-E625-47E6-BD11-39F9BB6F3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8C1A805-1F42-4494-BDD4-CBA412FA7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26A8F0-E1AE-410C-BEDE-C9EA6EBCD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4430F7B-643A-49F0-8DF3-F12B70378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9DD526-3026-4773-A6C9-4CB823F99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02C48E-6377-40D7-A7F3-57759D65C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1DA940-C601-4BA0-8DF0-F0D9DCB4D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484DE7-8C57-4D83-9DA1-A7C0385B0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51DE4E7-217A-4789-B4BC-77CFCFA13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CEE0399-B2AE-441B-81AD-126E7B764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725F30-48D5-4DEA-B88C-C701FA0C6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750CAC-6DA6-4C7A-8094-AF19B7A3A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140650-0787-4994-B367-58016B9F4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7D12F8-3955-48D5-A4C2-789E3CDDA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12BBD1-E045-4490-95E4-99D39AFEC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3C6E8B-46DA-4F83-A85A-A69D1CB3B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F73812-787C-44FE-8396-CD9996E601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CD4268-9B89-4537-AD8A-921EB23DF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FC76A3-A789-4BB9-BBC6-EFCBDEDCB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EF9CD0-8210-4FFD-BC32-627946650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45B88B-5F7E-4261-9190-33051A1B83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27019C-AC21-4922-8356-966A25AB5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F32B54-F5AE-4FCC-B715-2206660CC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603E4F-361A-4308-BB16-3157908DF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D8F423-576D-412B-B461-1CF01B45A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AA53EB-C492-4A8B-B099-C4D02D37D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16C373-554F-45C9-90E1-8B1CC0D5A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2CC5CF-34D4-469C-BFF4-51667ACF7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E7A16B-13FB-4440-A8DE-88F3B7A4C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4D2E71-AF62-4D54-8AEF-2FC26F1E11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B109B3-D49C-481B-BAAE-A34CC6076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728880-75C9-4661-84FA-4CFEE9AB9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4C8EA7-73B6-4D10-941B-CF301083C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0D0106-9B16-48CE-B599-7BE79E1BC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994CA7-3972-4736-A160-65EA32790B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0867A0B-D77F-4FA6-8FA5-5413A6484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AD227B-F873-41A4-B993-3EE47BCA3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14222E-7BE9-4097-9B43-9637B8B36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468115-1245-4648-B0D3-5A9F12480E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1DFAD8-7729-40B6-9D35-7DB136989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311E20-4169-4501-AD36-383EB8429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E20F59-BDB2-4F17-B391-3B90DD2AA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0B5799-5913-4490-B3D9-DBD9688EDB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B1F254-067F-4964-9B78-94C764481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E228DA-3DC9-4E92-8549-EBB9A6DC4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BEC694-1905-4605-87CE-51702576D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EDFE82-92C3-4765-917C-56844476D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529CAC-9AFB-4522-B0C8-FA3B4EC8B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834334-AE5A-4B58-80C9-633FF779A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03FF0E-F1CB-48DC-8A47-486DEC9B3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D28004-FA12-44CB-BA4C-03F870BDE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B2F9C26-DEC5-4285-AA26-F4F0303416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A2CFED-8CBF-44E3-869B-F1F52103B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1E5FE6-AEB3-42C5-BA53-CC81E4AC5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E4C9B6-E7E3-4FF7-8279-218A94A3A7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693F72-6A27-45DF-9C13-8124CAB6C4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DECA6C7-EDCE-4CAA-A09E-9E041945D4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6BA50E-E1A7-4B05-A448-B37D76E8D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96654F-D2AC-4307-A2BD-D19C2CDC7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EDB5C3-EEB7-4A2B-B51E-070F461C3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728BF1-2276-4E54-80D5-5F8706A5B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CAA677-FDE7-44B6-986D-1F9A5DACD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A3AB32-7E66-4097-B524-737900083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FFEE2E-8D6B-477C-AB43-533B4D5C4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55F1D0-E2DC-48DC-8478-1155CFFE7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70779AA-1757-4040-9E9C-D358B9952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A65CB8-B97A-4F89-A277-65935A17F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0FA112-23A1-4661-90F9-FCC9E095E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FE1E9A-1FBB-4480-8423-B97C97071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EDEE4B-4664-4E17-9A96-0AEE5382B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CF4052-08D8-492C-83BC-C4212E82D3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A77576-0480-463D-B8BA-967E30A58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B79640-2F1B-414C-9767-718942EF3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FEA890-1BEB-4385-AF76-276ECBC17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7343CE-8A66-4735-80A0-8FB34F14A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7F1D0E-BE02-4FAE-B1F9-95DA3E4B1D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D500E9-10F3-447C-9076-A9F1EBA7B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7C39F88-326F-46E6-ACA6-65A858B75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2213F6-B280-476E-9220-D651BF442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1BA1A8B-946A-426C-9403-DE3E0D9C2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8EBD56-F282-4C1B-9EA5-DA68F7FE4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4A6EA6F-3AF5-4C50-A847-773429C72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2AC387-0E2E-4E2F-9F20-22A2BA032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7CBD52-1E48-43EE-AF3F-B7DC2451A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2C738C-F5B1-4C22-8CA7-AE116D7A9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2955DA-854A-449F-9B9E-05F10081B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68FE83-4DB4-458C-AB5D-F0AE88BE1A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D9A554-5E4B-4B91-8B7F-2B561B1CE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740C19-8597-481E-88F8-CC2F14AA22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6AADF7-B8A0-43E1-B430-E519B08706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893CB2-8023-486D-B7F8-84BC1BF42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E0F2A3-7788-4D11-9B5C-85E647C60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41D1BF9-D5E0-441F-AC1B-28AB74DBB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D4CA67-5A80-42BF-A50C-BF4E07504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70680A-FC01-488D-9EF8-C96642160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567EF7-3090-4ACD-BE4A-77586FE9A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D84DAB-F545-416A-B220-948CD5871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D0794A-E728-4393-8C76-EFF2CE7DF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C391D9-8985-40C5-AE59-A8EA6D4BE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6868D4-1354-474E-8EFA-D4BA35871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9E5A66-2929-4E81-AE85-1E67D169F1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1F8EAE-8660-4D3D-9930-7FF804EEB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EC470F-4114-41CE-B12B-3C5A2547BF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A4142F-3603-42F4-AF23-F936F1D4E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6E1BFA2-1DF6-4A05-AFF3-99014714B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6ED23F-3534-4049-B02C-BC70340F0F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28191E-116D-454F-830B-47BD98E10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AB0955-F7E7-4D08-BA9C-4BFC69DD4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5E5466-28C6-4023-B070-08A51E6913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0B1FDC-5AD4-431C-81DD-AAE4A7DBF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6E5FA1-124E-4D95-9047-BA53C889E4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D3AD9B-5CC3-472C-91C9-CD06B1A43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35A193-E142-460C-B05B-58C9B6D9FB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2078AD3-58D7-435A-9009-5E6AF1D5B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0ADB8E5-B3E3-4E47-ACB2-D05DECC9D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2CCB77-74AB-4967-972F-16C7AA57FB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49F191-76AC-4021-87F2-D2FE6D1B3E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3782F1-2E0F-40CA-8A5F-B63999548A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8DF309-33BC-46EE-89A7-70DF8E830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78D7B8-623A-4BFC-949B-CC103B468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456ECE-7D0C-4C44-9AD7-E96B3366A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9E3D56-0416-43F8-9AE0-431E717DF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DA22E7-3F16-44C5-BEC5-D1732A1F9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4BD67D-570E-4946-B260-FC3C720B0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141B58-53A3-4AC1-B62B-C0DE69F8F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0B4592-44E6-4EE4-9066-AA501DB42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0FD208-F072-44E3-B5C0-0A316BE3E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BFE33B-1B5C-4B07-8903-BFD0D4B5DC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351AAF-6574-4A4E-BD42-D3AB101429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1CD6D4-40DF-45B9-830A-EB730BF57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853854F-3573-4DEF-8841-97A7BAB4C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ACF6D9-24F2-4008-8406-FA37FD5E5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B979FD-8B74-4319-A73E-5DDEFD9661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031CC2-6687-4F1F-8037-7CEBE4D9A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E8D95EB-96B8-49AB-A8A0-A6431A118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359416-021F-4799-9446-31B77BE44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0A22B15-D9CA-46EE-B61C-2C828340D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146247-280D-4994-A71E-66DD5773F6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8EC11C-9A1B-4BB5-AE64-D5B5CD802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A75495-EDCD-4C32-B5DB-D80074236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56FBBB-E231-4F66-858F-B939700AB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A12547-8568-424C-8EAD-C5C4A3E6D3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8B4360-F082-49C4-AC9E-C8F8FB7F2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02C148-3C8D-470F-B8CE-7F9D3F0A2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82007FD-4DEB-4995-9A8D-66960E49E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A91CD9-46C2-4654-9E9B-CCBC305B2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814F8D-40AF-4D3A-AAFD-C50A7C999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5F33ED-FD94-4B4E-9397-A64927EBF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C89905-9443-4652-9ADF-2533CAE2C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87F600-1B4D-4A6B-B137-8D57EB1F3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F4C882-0CCE-4964-A7F0-D1EFA4F7C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DAE755-AD83-49C0-91BE-3CECB385C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9A19B1-4A3F-49B5-B2BC-14D42D1A5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8663F1-0958-409B-842A-14DB3E4F6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EE1A32-AC1D-477A-9594-D252D63FB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6C14B9-CD73-4356-AC30-AB3EDE04B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F5ACFA1-443B-4937-9420-F2077F852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9454F4-C3A8-4DC8-9589-66B2D5635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8AB93B-3132-41B8-A9A0-4FA667ED7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6467AB9-50B2-4FCA-84A5-3E814DA36F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DED14A-4988-4499-B560-11D7D821D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155845-C4B7-46FB-BD6C-AFA343494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76E5B8-F97D-4A84-96D7-6866B8E4F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7C9F8C-8826-4F54-BEC2-B2E980189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F136C9-91A4-4CC6-A974-32BFA3522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412867-C9CD-453A-A21F-E5120BE6D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3B2AB4-952B-48C8-B539-7237ABAD02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FFF426-44AE-476B-A778-92E9148E7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D63322E-91D3-4B07-B8E7-F3270CF26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9D5764-E2C2-4852-AC48-CEA67A479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C5C3D8-D3E3-44C0-A808-422CA8BD1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330F01-B926-432B-86D2-62164780EF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E21872-41FD-4EA5-842A-9653B21B9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3FC31A-6189-4B6E-85DC-6E74D9A378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0A0CCD8-2AAA-4308-A62F-20AC433AD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05C713-7C38-474C-8EA4-39605D2AD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F4D9D1-EDD3-4132-BEBF-36C1AF0DB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750888-F30A-43FD-995C-2FC292F090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25CEB7-1292-45EA-9385-14D40C119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D59C82-2AD3-493A-B2E6-68EEB1FE3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DA8B58-C733-4D47-A173-EE87A7AC9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4F55A3-9096-4086-A645-BA8FE6715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47F722-E8D1-427E-9B94-4E8D6749D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54DD63-4925-4AA3-AF29-662EA1415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EFA8FB-0A15-4A49-9436-C52F1D73C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0E3227-B7F3-47A8-9358-426064A60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6BEDC0-9F2A-4D77-B004-9B042FC73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63600C-F97A-4B04-AA66-BF7E73BFC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D15037-2BC7-4FC4-B58F-6EADC07E2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C64012-EAAC-4D4E-B6D1-4DE4BADF2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570E86-5E7B-49B7-AE33-28213A5C1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3BB68A-A783-4462-978D-42DF1DDBE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DB4DDE-5CE9-449B-ABB2-BEAB1DF96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75BCD92-8068-4CB2-AECF-270D8A292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8A26F5-09D8-4891-AAD2-6440FB3DA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76E83F-1C36-45A1-A4F8-35B382770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BD2A0F-D120-4E64-8888-B607243A8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88F61F-F84A-4392-9AF6-99FC62039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B9B369-1F71-416C-8B8E-C34C009EC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F2E891-00C6-4276-B66A-299D133D4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222549-50F9-47BA-93FF-0770740240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26C945-C78B-4F0C-B2D7-D74D0D459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2B07DB-B8B1-452C-85DD-C2B356F9A8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DAABEC-9204-47C2-907E-0568107A2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3AA746-1C99-4574-8CD0-7B4428FEE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A0240D-F6D0-45E5-AC7F-5B4CF800A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B8986A-6513-4E15-9CBE-9C2CA77C87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4C2CBE-C6F3-48B1-8278-F012376C3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B93240-08CA-4508-8241-202948A36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677DD5-462E-4006-AEB7-F1791E17ED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E24301-DFB3-42EA-8471-2CDFBCC37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7697F8-647F-4583-AB74-4A9D2FC82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1569BB-43F4-4913-8023-F3A247174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781219-7FE9-467D-873B-76BBF3A65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DDD8AC-0ED6-4798-94A9-FC8C3A24D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43AAC3E-A023-461F-81E3-E03BD4E29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538F14A-6030-4AE3-9326-D2EEC0C8A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748B1A7-95AB-41AB-B618-FC583BFC7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E794A36-52FC-414E-BA10-E77DEDCA5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FE01009-B153-4ABB-A8A4-C3D15A7A7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D3A5C0E-C61D-4A79-ABA2-482CF1F8E0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A8ED9FB-6770-4DB2-A6FD-E39D94E3A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FE17532-61C8-419D-A5B7-DF3AE4AF9B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A799328-C5DC-446E-B745-247291E26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7FF3321-E89C-4104-B772-71086CF7F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D1D9EE24-A41F-4F7C-8ACE-414077DB0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AB189F-3F92-484F-8CB3-34E306B47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8E28B66-2B45-41FB-926E-D8531F7F4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9255CC-F2AE-43CD-B065-1FC41B376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9BF152-C5F1-401B-80FB-9810E87EA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6595B3-F31A-4680-B920-00CCDD50C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F3287F-27F3-4DC6-A636-54A8E8BA1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B07259-F904-455E-9133-7DB22B746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649F43-749E-4918-8F1E-ECABB4675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F1B70DE-03D3-421F-B698-72C20004FA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9158F65-8AD4-4DAD-812A-17D5C475BE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9DABF02-B5BA-4E59-BC0F-E36C92B989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4BC8FD4-439E-4715-80B8-7D3713A62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51E325F-4F76-43D9-A011-B02180C2B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4849D64-19E4-422F-823E-81F2898D8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0426C81-F6B0-4A2E-93EE-0CFC75FFA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67D3BE7-8B2F-430F-B516-821912852E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1BED0D-9A38-4817-8D32-3535EBC82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0F6899-DA60-407D-8914-E4845EF6C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06432A-6013-4284-A940-D547212E9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B4060C-6EF5-46B3-86E8-8902AA2A4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53320E-C97F-4B3D-8745-5DCDCC93D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F282F5-BE3D-4D1E-ACFE-791D5729B1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9AAFB3-F589-48F6-94AA-354553621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8EE71F-93BA-4FC2-97EC-009B96139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6EF3793-2A28-4005-9F42-AD5063DAA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17EDB28-8366-49B0-927B-60C91062C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A2BFD94-6B7B-4DDC-9E55-0B10E5C70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045FB66-A66D-4EA0-8236-69A6ED1BB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D4DEAA4-94E1-49EF-BDA3-9D836D59D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4A985A84-6D36-436F-B8DA-F0C137460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9844DB4-7A75-4879-81C7-EEC1742B7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5397A29-D7C5-43FE-BD5A-28AF05531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0.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4.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0.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1.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2.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3.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4.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7.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4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474445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64076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65258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43697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374655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32330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5641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4639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9582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797363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76837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976225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60882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430785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84231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6433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72901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52840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9627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289396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05072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80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609368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580107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324155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58888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57241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53840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700398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162471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196642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386726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2187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447100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43043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520361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840852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017022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363206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972618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325502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421933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227179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01996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791708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616569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682585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62468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68862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75906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649017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13695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26434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735877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5267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605950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826805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803852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902569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336994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21246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909730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64742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10707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71641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17206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603498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147952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3547621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9857791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4042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0095154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405760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251373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2583549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1/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91910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23435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4404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0541</Words>
  <Application>Microsoft Office PowerPoint</Application>
  <PresentationFormat>On-screen Show (16:9)</PresentationFormat>
  <Paragraphs>3872</Paragraphs>
  <Slides>78</Slides>
  <Notes>3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8</vt:i4>
      </vt:variant>
    </vt:vector>
  </HeadingPairs>
  <TitlesOfParts>
    <vt:vector size="8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11T08:0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